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263" r:id="rId3"/>
    <p:sldId id="858" r:id="rId4"/>
    <p:sldId id="886" r:id="rId5"/>
    <p:sldId id="468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5-02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174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3174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88BA80-940B-460F-98E0-742B2D41F4BD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3440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5-02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-02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5-02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5-02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5-02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jpeg"/><Relationship Id="rId18" Type="http://schemas.openxmlformats.org/officeDocument/2006/relationships/image" Target="../media/image4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9.png"/><Relationship Id="rId20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jpeg"/><Relationship Id="rId10" Type="http://schemas.openxmlformats.org/officeDocument/2006/relationships/image" Target="../media/image33.png"/><Relationship Id="rId19" Type="http://schemas.openxmlformats.org/officeDocument/2006/relationships/image" Target="../media/image42.jpeg"/><Relationship Id="rId4" Type="http://schemas.openxmlformats.org/officeDocument/2006/relationships/image" Target="../media/image27.jpeg"/><Relationship Id="rId9" Type="http://schemas.openxmlformats.org/officeDocument/2006/relationships/image" Target="../media/image32.png"/><Relationship Id="rId14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5BE62956-3FD3-48D0-B268-30A1A90162A7}"/>
              </a:ext>
            </a:extLst>
          </p:cNvPr>
          <p:cNvSpPr txBox="1"/>
          <p:nvPr/>
        </p:nvSpPr>
        <p:spPr>
          <a:xfrm>
            <a:off x="2150165" y="2886265"/>
            <a:ext cx="78916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b="1" dirty="0">
                <a:solidFill>
                  <a:schemeClr val="accent1"/>
                </a:solidFill>
              </a:rPr>
              <a:t>Waterstof-elektrisch in Logistiek</a:t>
            </a:r>
          </a:p>
          <a:p>
            <a:pPr algn="ctr"/>
            <a:r>
              <a:rPr lang="nl-NL" sz="2800" dirty="0">
                <a:solidFill>
                  <a:schemeClr val="accent1"/>
                </a:solidFill>
              </a:rPr>
              <a:t>Denkkracht in tijden van transitie</a:t>
            </a:r>
          </a:p>
        </p:txBody>
      </p:sp>
    </p:spTree>
    <p:extLst>
      <p:ext uri="{BB962C8B-B14F-4D97-AF65-F5344CB8AC3E}">
        <p14:creationId xmlns:p14="http://schemas.microsoft.com/office/powerpoint/2010/main" val="2460677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C9CE348-CED0-4533-AEC4-3CB539673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3669" y="1803700"/>
            <a:ext cx="1714500" cy="2657475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D0A1098F-2CFA-4CBF-8082-10B5F7A3E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8994" y="1803701"/>
            <a:ext cx="2669338" cy="265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07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5BE62956-3FD3-48D0-B268-30A1A90162A7}"/>
              </a:ext>
            </a:extLst>
          </p:cNvPr>
          <p:cNvSpPr txBox="1"/>
          <p:nvPr/>
        </p:nvSpPr>
        <p:spPr>
          <a:xfrm>
            <a:off x="2156790" y="397564"/>
            <a:ext cx="78916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ietransitie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6940C3DA-EF7A-4B7C-B1FC-ADC33A871764}"/>
              </a:ext>
            </a:extLst>
          </p:cNvPr>
          <p:cNvCxnSpPr/>
          <p:nvPr/>
        </p:nvCxnSpPr>
        <p:spPr>
          <a:xfrm>
            <a:off x="773595" y="1212571"/>
            <a:ext cx="1064480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kstvak 3">
            <a:extLst>
              <a:ext uri="{FF2B5EF4-FFF2-40B4-BE49-F238E27FC236}">
                <a16:creationId xmlns:a16="http://schemas.microsoft.com/office/drawing/2014/main" id="{4F1636ED-59E7-4548-BCC8-0EB72813EDA4}"/>
              </a:ext>
            </a:extLst>
          </p:cNvPr>
          <p:cNvSpPr txBox="1"/>
          <p:nvPr/>
        </p:nvSpPr>
        <p:spPr>
          <a:xfrm>
            <a:off x="963827" y="1655807"/>
            <a:ext cx="102931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elen Energieakkoord Mobiliteit &amp;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hoging van de energie-efficiënti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iciëntieverbetering in gebruik van mobiliteit en trans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en groter aandeel duurzame modalitei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 overgang naar nieuwe energiedrag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kenning van mogelijke toepassing van ‘betalen voor gebruik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ectief bron- en ruimtelijk bele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ffectief mobiliteitsmanagement en aansluiting bij de behoeften en beleving van gebruikers.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F108E2C2-8FCA-4A5D-AA35-21ECEE5F90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6832" y="4305441"/>
            <a:ext cx="5104642" cy="2023178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8ADB218B-5E0E-4C71-AA3D-F2FA4941A807}"/>
              </a:ext>
            </a:extLst>
          </p:cNvPr>
          <p:cNvSpPr txBox="1"/>
          <p:nvPr/>
        </p:nvSpPr>
        <p:spPr>
          <a:xfrm>
            <a:off x="7039773" y="4492774"/>
            <a:ext cx="742684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nl-NL" sz="9600" dirty="0">
                <a:solidFill>
                  <a:srgbClr val="EAEAEA"/>
                </a:solidFill>
              </a:rPr>
              <a:t>?</a:t>
            </a: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77E4930-97CD-4A80-B4E6-539565F7EE29}"/>
              </a:ext>
            </a:extLst>
          </p:cNvPr>
          <p:cNvSpPr/>
          <p:nvPr/>
        </p:nvSpPr>
        <p:spPr>
          <a:xfrm>
            <a:off x="6737032" y="4653587"/>
            <a:ext cx="1285104" cy="1223319"/>
          </a:xfrm>
          <a:prstGeom prst="ellipse">
            <a:avLst/>
          </a:prstGeom>
          <a:noFill/>
          <a:ln w="38100">
            <a:solidFill>
              <a:srgbClr val="EBE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8641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1053962"/>
            <a:ext cx="12192000" cy="192021"/>
            <a:chOff x="0" y="1059582"/>
            <a:chExt cx="9144000" cy="144016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2">
            <a:extLst>
              <a:ext uri="{FF2B5EF4-FFF2-40B4-BE49-F238E27FC236}">
                <a16:creationId xmlns:a16="http://schemas.microsoft.com/office/drawing/2014/main" id="{52293A3C-C54F-4CA6-9109-1D1F215A3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948947"/>
            <a:ext cx="860255" cy="15361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2050" name="Picture 2" descr="Image result for energie akkoord">
            <a:extLst>
              <a:ext uri="{FF2B5EF4-FFF2-40B4-BE49-F238E27FC236}">
                <a16:creationId xmlns:a16="http://schemas.microsoft.com/office/drawing/2014/main" id="{307F3CE1-33D5-4A69-B222-835D5E098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56" y="3140969"/>
            <a:ext cx="864096" cy="133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1669A3D3-4DAA-4401-BE58-149D5CFE1E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339" y="1892830"/>
            <a:ext cx="1536171" cy="879289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269C94D-9F51-491B-A6B0-D6B5978A11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9669" y="4869160"/>
            <a:ext cx="1728192" cy="172819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C6AD6EFD-BB40-4BD8-B438-D011AEEE9A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3659" y="3140969"/>
            <a:ext cx="3515883" cy="1455185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26E70AA-CBB9-40A2-862E-4617038774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7596" y="2276873"/>
            <a:ext cx="3730097" cy="1725943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84700AEE-30DE-442E-BD95-D710739815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4858" y="1641262"/>
            <a:ext cx="3790641" cy="1667253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DB64861B-798E-46C9-B911-2E5BCB09453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3338" y="4869160"/>
            <a:ext cx="3019252" cy="1728192"/>
          </a:xfrm>
          <a:prstGeom prst="rect">
            <a:avLst/>
          </a:prstGeom>
        </p:spPr>
      </p:pic>
      <p:sp>
        <p:nvSpPr>
          <p:cNvPr id="18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143339" y="6117299"/>
            <a:ext cx="297633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ndstoffen zijn eindig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C7275936-575C-45B1-80ED-2120605AD403}"/>
              </a:ext>
            </a:extLst>
          </p:cNvPr>
          <p:cNvSpPr txBox="1"/>
          <p:nvPr/>
        </p:nvSpPr>
        <p:spPr>
          <a:xfrm>
            <a:off x="6736764" y="1902507"/>
            <a:ext cx="2303169" cy="10770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 prijs van stroom daalt razendsn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07702" y="285877"/>
            <a:ext cx="5088565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De </a:t>
            </a:r>
            <a:r>
              <a:rPr kumimoji="0" lang="en-US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toekomst</a:t>
            </a: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 is </a:t>
            </a:r>
            <a:r>
              <a:rPr kumimoji="0" lang="en-US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elektrisch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 Black"/>
              <a:ea typeface="+mn-ea"/>
              <a:cs typeface="Arial Black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39883" y="4293096"/>
            <a:ext cx="1344149" cy="2396256"/>
          </a:xfrm>
          <a:prstGeom prst="rect">
            <a:avLst/>
          </a:prstGeom>
        </p:spPr>
      </p:pic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5336825"/>
            <a:ext cx="1171576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861" y="3700661"/>
            <a:ext cx="1345661" cy="1056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075" y="5336824"/>
            <a:ext cx="1309688" cy="871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0470" y="5432835"/>
            <a:ext cx="1437279" cy="76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7728181" y="6296931"/>
            <a:ext cx="297633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Energieopslag</a:t>
            </a:r>
          </a:p>
        </p:txBody>
      </p:sp>
      <p:sp>
        <p:nvSpPr>
          <p:cNvPr id="33" name="Tekstvak 17">
            <a:extLst>
              <a:ext uri="{FF2B5EF4-FFF2-40B4-BE49-F238E27FC236}">
                <a16:creationId xmlns:a16="http://schemas.microsoft.com/office/drawing/2014/main" id="{2CEAAD88-687E-42D2-A27E-5C53FE0CCB42}"/>
              </a:ext>
            </a:extLst>
          </p:cNvPr>
          <p:cNvSpPr txBox="1"/>
          <p:nvPr/>
        </p:nvSpPr>
        <p:spPr>
          <a:xfrm>
            <a:off x="7632171" y="4760760"/>
            <a:ext cx="297633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33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chone energie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498B03A0-5877-4500-8448-96303396512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76227" y="1677255"/>
            <a:ext cx="3316341" cy="2005229"/>
          </a:xfrm>
          <a:prstGeom prst="rect">
            <a:avLst/>
          </a:prstGeom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5FB7FD6-2CC7-4307-BE94-2D554124A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9ACE34EF-4529-BE41-A9B2-DE115011B396}"/>
              </a:ext>
            </a:extLst>
          </p:cNvPr>
          <p:cNvSpPr/>
          <p:nvPr/>
        </p:nvSpPr>
        <p:spPr>
          <a:xfrm>
            <a:off x="9859865" y="4957011"/>
            <a:ext cx="2332136" cy="1539944"/>
          </a:xfrm>
          <a:prstGeom prst="ellipse">
            <a:avLst/>
          </a:prstGeom>
          <a:noFill/>
          <a:ln w="984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5" name="Afbeelding 34">
            <a:extLst>
              <a:ext uri="{FF2B5EF4-FFF2-40B4-BE49-F238E27FC236}">
                <a16:creationId xmlns:a16="http://schemas.microsoft.com/office/drawing/2014/main" id="{66432E27-E5C9-424A-8E18-E1507B5E7DF4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8970" r="11388"/>
          <a:stretch/>
        </p:blipFill>
        <p:spPr>
          <a:xfrm>
            <a:off x="6731564" y="3700661"/>
            <a:ext cx="1380658" cy="1056119"/>
          </a:xfrm>
          <a:prstGeom prst="rect">
            <a:avLst/>
          </a:prstGeom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911" y="3704642"/>
            <a:ext cx="1231760" cy="1056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81"/>
          <a:stretch/>
        </p:blipFill>
        <p:spPr bwMode="auto">
          <a:xfrm>
            <a:off x="8778748" y="3704641"/>
            <a:ext cx="1199038" cy="1056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" r="8348"/>
          <a:stretch/>
        </p:blipFill>
        <p:spPr bwMode="auto">
          <a:xfrm>
            <a:off x="9840412" y="3704641"/>
            <a:ext cx="1092446" cy="1056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4107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34" grpId="0"/>
      <p:bldP spid="33" grpId="0"/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4</TotalTime>
  <Words>109</Words>
  <Application>Microsoft Macintosh PowerPoint</Application>
  <PresentationFormat>Breedbeeld</PresentationFormat>
  <Paragraphs>20</Paragraphs>
  <Slides>4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Times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29</cp:revision>
  <dcterms:created xsi:type="dcterms:W3CDTF">2019-02-24T15:05:00Z</dcterms:created>
  <dcterms:modified xsi:type="dcterms:W3CDTF">2019-02-25T12:46:09Z</dcterms:modified>
</cp:coreProperties>
</file>